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306" r:id="rId3"/>
    <p:sldId id="821" r:id="rId4"/>
    <p:sldId id="822" r:id="rId5"/>
    <p:sldId id="823" r:id="rId6"/>
    <p:sldId id="302" r:id="rId7"/>
    <p:sldId id="304" r:id="rId8"/>
    <p:sldId id="303" r:id="rId9"/>
    <p:sldId id="305" r:id="rId10"/>
    <p:sldId id="275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6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6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6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6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6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6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6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8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звание образовательной организации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ь руководителя ОО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.И.О……………………………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……Тема проекта      ………………………………………………………………………………………………………….......................................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__г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7033675"/>
              </p:ext>
            </p:extLst>
          </p:nvPr>
        </p:nvGraphicFramePr>
        <p:xfrm>
          <a:off x="361949" y="1484784"/>
          <a:ext cx="8640761" cy="42980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66414"/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 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   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64804"/>
            <a:ext cx="9144000" cy="519154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9712" y="789013"/>
            <a:ext cx="5941347" cy="37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dirty="0" smtClean="0"/>
              <a:t>Руководитель проекта –Ф.И.О. (полностью),</a:t>
            </a:r>
          </a:p>
          <a:p>
            <a:pPr marL="0" indent="0">
              <a:buNone/>
            </a:pPr>
            <a:r>
              <a:rPr lang="ru-RU" sz="2800" dirty="0" smtClean="0"/>
              <a:t>должность</a:t>
            </a:r>
          </a:p>
          <a:p>
            <a:r>
              <a:rPr lang="ru-RU" sz="2800" dirty="0" smtClean="0"/>
              <a:t>Команда проекта:</a:t>
            </a:r>
          </a:p>
          <a:p>
            <a:r>
              <a:rPr lang="ru-RU" sz="2800" dirty="0" smtClean="0"/>
              <a:t>Ф.И.О. (полностью), должность всех участников</a:t>
            </a:r>
          </a:p>
          <a:p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597806" y="1440568"/>
            <a:ext cx="1351892" cy="126222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2360" y="1886047"/>
            <a:ext cx="5941347" cy="37126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43844" y="3861048"/>
            <a:ext cx="1063860" cy="106628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825943" y="4639309"/>
            <a:ext cx="1192935" cy="105498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6937118" y="3751775"/>
            <a:ext cx="1224136" cy="1152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4414" y="4208556"/>
            <a:ext cx="5941347" cy="37126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9952" y="4936101"/>
            <a:ext cx="5941347" cy="37126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4288" y="4121407"/>
            <a:ext cx="5941347" cy="371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Объект 16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972862" y="1600200"/>
            <a:ext cx="3198275" cy="452596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7704" y="953945"/>
            <a:ext cx="5941347" cy="516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915816" y="874601"/>
            <a:ext cx="7076840" cy="82620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6292" y="1484784"/>
            <a:ext cx="6806644" cy="4871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…. 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867626"/>
              </p:ext>
            </p:extLst>
          </p:nvPr>
        </p:nvGraphicFramePr>
        <p:xfrm>
          <a:off x="483844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изводимое действие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936723"/>
              </p:ext>
            </p:extLst>
          </p:nvPr>
        </p:nvGraphicFramePr>
        <p:xfrm>
          <a:off x="4886178" y="5071122"/>
          <a:ext cx="3928268" cy="15544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5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500562" y="4968296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2094485" y="1152667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249263" y="11111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97" name="Пятно 1 60"/>
          <p:cNvSpPr/>
          <p:nvPr/>
        </p:nvSpPr>
        <p:spPr>
          <a:xfrm>
            <a:off x="2232024" y="464408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4321174" y="2881766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396783" y="11046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 или скриншот </a:t>
            </a:r>
            <a:r>
              <a:rPr lang="en-US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excel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арты)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(«.......................................................................................................................................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928223"/>
              </p:ext>
            </p:extLst>
          </p:nvPr>
        </p:nvGraphicFramePr>
        <p:xfrm>
          <a:off x="2740598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741590"/>
              </p:ext>
            </p:extLst>
          </p:nvPr>
        </p:nvGraphicFramePr>
        <p:xfrm>
          <a:off x="4889426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489750"/>
              </p:ext>
            </p:extLst>
          </p:nvPr>
        </p:nvGraphicFramePr>
        <p:xfrm>
          <a:off x="6985306" y="164323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5863420"/>
              </p:ext>
            </p:extLst>
          </p:nvPr>
        </p:nvGraphicFramePr>
        <p:xfrm>
          <a:off x="411154" y="3419947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951488"/>
              </p:ext>
            </p:extLst>
          </p:nvPr>
        </p:nvGraphicFramePr>
        <p:xfrm>
          <a:off x="2748706" y="3424705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8182563"/>
              </p:ext>
            </p:extLst>
          </p:nvPr>
        </p:nvGraphicFramePr>
        <p:xfrm>
          <a:off x="4921575" y="3424705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298984"/>
              </p:ext>
            </p:extLst>
          </p:nvPr>
        </p:nvGraphicFramePr>
        <p:xfrm>
          <a:off x="6985306" y="3442105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36230"/>
              </p:ext>
            </p:extLst>
          </p:nvPr>
        </p:nvGraphicFramePr>
        <p:xfrm>
          <a:off x="483844" y="5187571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4652010"/>
              </p:ext>
            </p:extLst>
          </p:nvPr>
        </p:nvGraphicFramePr>
        <p:xfrm>
          <a:off x="2573274" y="5259087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041565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56218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520770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8</a:t>
            </a:r>
            <a:r>
              <a:rPr lang="ru-RU" sz="12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1041565" y="471631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9</a:t>
            </a:r>
            <a:r>
              <a:rPr lang="ru-RU" sz="12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3275855" y="4788114"/>
            <a:ext cx="720081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0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4852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4" name="Стрелка вправо 123"/>
          <p:cNvSpPr/>
          <p:nvPr/>
        </p:nvSpPr>
        <p:spPr>
          <a:xfrm>
            <a:off x="2212459" y="553577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7763241"/>
              </p:ext>
            </p:extLst>
          </p:nvPr>
        </p:nvGraphicFramePr>
        <p:xfrm>
          <a:off x="361949" y="1484784"/>
          <a:ext cx="7954467" cy="3871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4428340"/>
            <a:ext cx="3865563" cy="158273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……………………………………..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………………………………………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……………………………………..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..........................................................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...........................................................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0074" y="565602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… 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592668" y="4110318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0" y="1146188"/>
            <a:ext cx="88936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процесса </a:t>
            </a:r>
            <a:r>
              <a:rPr lang="ru-RU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 или скриншот </a:t>
            </a:r>
            <a:r>
              <a:rPr lang="en-US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excel </a:t>
            </a:r>
            <a:r>
              <a:rPr lang="ru-RU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арты)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.......................................................................................................................................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947789"/>
              </p:ext>
            </p:extLst>
          </p:nvPr>
        </p:nvGraphicFramePr>
        <p:xfrm>
          <a:off x="578941" y="2525881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изводимое действие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435453"/>
              </p:ext>
            </p:extLst>
          </p:nvPr>
        </p:nvGraphicFramePr>
        <p:xfrm>
          <a:off x="2824550" y="2528786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9295"/>
              </p:ext>
            </p:extLst>
          </p:nvPr>
        </p:nvGraphicFramePr>
        <p:xfrm>
          <a:off x="5076056" y="2560181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046"/>
              </p:ext>
            </p:extLst>
          </p:nvPr>
        </p:nvGraphicFramePr>
        <p:xfrm>
          <a:off x="1384548" y="417638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6957293"/>
              </p:ext>
            </p:extLst>
          </p:nvPr>
        </p:nvGraphicFramePr>
        <p:xfrm>
          <a:off x="3700478" y="4155979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9752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6876256" y="297222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989372" y="450912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3203848" y="466152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210709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934046" y="3769004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318828" y="374995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2267744" y="1958448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xmlns="" id="{E460C5E6-5047-4C75-8C7B-4DE90D77B07D}"/>
              </a:ext>
            </a:extLst>
          </p:cNvPr>
          <p:cNvSpPr/>
          <p:nvPr/>
        </p:nvSpPr>
        <p:spPr>
          <a:xfrm>
            <a:off x="4283847" y="1968559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xmlns="" id="{7710A555-C240-441B-877A-74BA51DF6CA7}"/>
              </a:ext>
            </a:extLst>
          </p:cNvPr>
          <p:cNvSpPr/>
          <p:nvPr/>
        </p:nvSpPr>
        <p:spPr>
          <a:xfrm>
            <a:off x="2945737" y="3777752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BFCFCEC-6A8A-4879-960C-08B3AEDF6CD5}"/>
              </a:ext>
            </a:extLst>
          </p:cNvPr>
          <p:cNvSpPr txBox="1"/>
          <p:nvPr/>
        </p:nvSpPr>
        <p:spPr>
          <a:xfrm>
            <a:off x="5880700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110333"/>
              </p:ext>
            </p:extLst>
          </p:nvPr>
        </p:nvGraphicFramePr>
        <p:xfrm>
          <a:off x="5993927" y="4661520"/>
          <a:ext cx="2933746" cy="15544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5.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:a16="http://schemas.microsoft.com/office/drawing/2014/main" xmlns="" id="{7710A555-C240-441B-877A-74BA51DF6CA7}"/>
              </a:ext>
            </a:extLst>
          </p:cNvPr>
          <p:cNvSpPr/>
          <p:nvPr/>
        </p:nvSpPr>
        <p:spPr>
          <a:xfrm>
            <a:off x="3570083" y="3769004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4914675" y="2107098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8</TotalTime>
  <Words>349</Words>
  <Application>Microsoft Office PowerPoint</Application>
  <PresentationFormat>Экран (4:3)</PresentationFormat>
  <Paragraphs>155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Григорьева Ирина Анатольевна</cp:lastModifiedBy>
  <cp:revision>125</cp:revision>
  <cp:lastPrinted>2019-04-25T09:14:46Z</cp:lastPrinted>
  <dcterms:created xsi:type="dcterms:W3CDTF">2018-08-20T14:01:12Z</dcterms:created>
  <dcterms:modified xsi:type="dcterms:W3CDTF">2022-09-16T11:07:22Z</dcterms:modified>
</cp:coreProperties>
</file>